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071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772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I8VuWhvk87o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D9A712B4-F61F-4391-BD5F-C7A2A9443C2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0" r="19950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5 Apri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colas Cage, Pedro Pascal, Tiffany </a:t>
            </a:r>
            <a:r>
              <a:rPr lang="en-US" dirty="0" err="1">
                <a:solidFill>
                  <a:schemeClr val="accent6"/>
                </a:solidFill>
              </a:rPr>
              <a:t>Haddish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</a:t>
            </a:r>
            <a:r>
              <a:rPr lang="en-US" dirty="0" err="1">
                <a:solidFill>
                  <a:schemeClr val="accent6"/>
                </a:solidFill>
              </a:rPr>
              <a:t>Gormican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That Awkward Momen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Disaster Artis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colas Cage finally goes full ‘meta’ in a story that is already attracting huge online buzz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-44 Men Index: 19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1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A cash-strapped Nicolas Cage agrees to appear at a billionaire super-fans’ party, but is actually an informant for the CIA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Unbearable Weight of Massive Talen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 new Hollywood odyssey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89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Unbearable Weight of Massive Tale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The Unbearable Weight of Massive Talent</dc:description>
  <cp:lastModifiedBy/>
  <cp:revision>1</cp:revision>
  <dcterms:created xsi:type="dcterms:W3CDTF">2019-03-25T11:13:20Z</dcterms:created>
  <dcterms:modified xsi:type="dcterms:W3CDTF">2022-01-19T16:57:2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The Unbearable Weight of Massive Talent</vt:lpwstr>
  </property>
</Properties>
</file>